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3" r:id="rId1"/>
  </p:sldMasterIdLst>
  <p:notesMasterIdLst>
    <p:notesMasterId r:id="rId35"/>
  </p:notesMasterIdLst>
  <p:handoutMasterIdLst>
    <p:handoutMasterId r:id="rId36"/>
  </p:handoutMasterIdLst>
  <p:sldIdLst>
    <p:sldId id="359" r:id="rId2"/>
    <p:sldId id="993" r:id="rId3"/>
    <p:sldId id="994" r:id="rId4"/>
    <p:sldId id="878" r:id="rId5"/>
    <p:sldId id="885" r:id="rId6"/>
    <p:sldId id="959" r:id="rId7"/>
    <p:sldId id="958" r:id="rId8"/>
    <p:sldId id="913" r:id="rId9"/>
    <p:sldId id="911" r:id="rId10"/>
    <p:sldId id="995" r:id="rId11"/>
    <p:sldId id="912" r:id="rId12"/>
    <p:sldId id="886" r:id="rId13"/>
    <p:sldId id="991" r:id="rId14"/>
    <p:sldId id="882" r:id="rId15"/>
    <p:sldId id="957" r:id="rId16"/>
    <p:sldId id="956" r:id="rId17"/>
    <p:sldId id="997" r:id="rId18"/>
    <p:sldId id="908" r:id="rId19"/>
    <p:sldId id="909" r:id="rId20"/>
    <p:sldId id="910" r:id="rId21"/>
    <p:sldId id="899" r:id="rId22"/>
    <p:sldId id="900" r:id="rId23"/>
    <p:sldId id="962" r:id="rId24"/>
    <p:sldId id="901" r:id="rId25"/>
    <p:sldId id="902" r:id="rId26"/>
    <p:sldId id="883" r:id="rId27"/>
    <p:sldId id="1000" r:id="rId28"/>
    <p:sldId id="998" r:id="rId29"/>
    <p:sldId id="898" r:id="rId30"/>
    <p:sldId id="915" r:id="rId31"/>
    <p:sldId id="955" r:id="rId32"/>
    <p:sldId id="964" r:id="rId33"/>
    <p:sldId id="1001" r:id="rId34"/>
  </p:sldIdLst>
  <p:sldSz cx="9144000" cy="5715000" type="screen16x10"/>
  <p:notesSz cx="7104063" cy="10234613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B787"/>
    <a:srgbClr val="00A9CE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55" autoAdjust="0"/>
    <p:restoredTop sz="77726" autoAdjust="0"/>
  </p:normalViewPr>
  <p:slideViewPr>
    <p:cSldViewPr snapToGrid="0">
      <p:cViewPr varScale="1">
        <p:scale>
          <a:sx n="97" d="100"/>
          <a:sy n="97" d="100"/>
        </p:scale>
        <p:origin x="612" y="64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9" d="100"/>
          <a:sy n="119" d="100"/>
        </p:scale>
        <p:origin x="205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1279525"/>
            <a:ext cx="552608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26896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ckchain has attracted a broad range of interests from start-ups, enterprises and governments. A large number of projects have been conducted to explore how to use blockchain to re-architect systems and to build new applications and business models. The application areas for blockchain are diverse, including digital currency, payments, trade finance, asset registry, identity management, and business processes.</a:t>
            </a:r>
          </a:p>
          <a:p>
            <a:r>
              <a:rPr lang="en-A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A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ever, building blockchain applications is challenging for developers. First, blockchain is a new technology with still limited tooling and documentation, so there can be a steep learning curve for developers. According to a survey by Gartner [1], 23% of [relevant surveyed] CIOs said that blockchain requires the newest skills for implementation at various application areas, while 18% said that blockchain technique itself is one of the most difficult. Second, the blockchain is by design an immutable record, so it is non-trivial or even infeasible to update the smart contracts . This can impede the way to fix bugs by releasing new versions of smart contracts. Mistakes in smart contracts have led to massive economic loss, such as the DAO exploit [2].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6349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004432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99158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82395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33408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40324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7478170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0461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4223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234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181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954148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357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22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6949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2626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972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2179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958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51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thereum/EIPs/issues/721" TargetMode="External"/><Relationship Id="rId2" Type="http://schemas.openxmlformats.org/officeDocument/2006/relationships/hyperlink" Target="https://theethereum.wiki/w/index.php/ERC20_Token_Standard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hyperlink" Target="https://www.cryptokitties.co/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005.12685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drive.google.com/file/d/1rpy-oHbDVkXa6u4Fn73wSX8rINn1sv3U/view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rlenyslp/Caterpillar" TargetMode="External"/><Relationship Id="rId2" Type="http://schemas.openxmlformats.org/officeDocument/2006/relationships/hyperlink" Target="https://research.csiro.au/data61/blockchain/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hyperledger.org/projects/composer" TargetMode="External"/><Relationship Id="rId4" Type="http://schemas.openxmlformats.org/officeDocument/2006/relationships/hyperlink" Target="https://regis.nu/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rtner.com/newsroom/id/3873790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researchgate.net/publication/332298704_Blockchain_2030_A_Look_at_the_Future_of_Blockchain_in_Australia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omg.org/mda/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Meta-Object_Facility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Model-driven Engineering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C51412D-BE86-4A62-9487-EE019AAC513D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D6D234-FFA9-42B4-AF46-FC64126158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 sz="4800" dirty="0"/>
              <a:t>MDE for Data and Token model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B28519-2DA4-4D73-90ED-5217A2F32BE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0853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AU" dirty="0"/>
              <a:t>Fungible tokens: interchangeable</a:t>
            </a:r>
          </a:p>
          <a:p>
            <a:pPr lvl="1"/>
            <a:r>
              <a:rPr lang="en-AU" dirty="0"/>
              <a:t>E.g., $2 coin, $10 note</a:t>
            </a:r>
          </a:p>
          <a:p>
            <a:pPr lvl="1"/>
            <a:r>
              <a:rPr lang="en-AU" dirty="0"/>
              <a:t>Main concern: how many?</a:t>
            </a:r>
          </a:p>
          <a:p>
            <a:pPr lvl="1"/>
            <a:r>
              <a:rPr lang="en-AU" dirty="0"/>
              <a:t>Ethereum: ERC20 standard</a:t>
            </a:r>
          </a:p>
          <a:p>
            <a:pPr lvl="2"/>
            <a:r>
              <a:rPr lang="en-AU" sz="900" dirty="0">
                <a:hlinkClick r:id="rId2"/>
              </a:rPr>
              <a:t>https://theethereum.wiki/w/index.php/ERC20_Token_Standard</a:t>
            </a:r>
            <a:r>
              <a:rPr lang="en-AU" sz="900" dirty="0"/>
              <a:t> </a:t>
            </a:r>
          </a:p>
          <a:p>
            <a:pPr lvl="2"/>
            <a:r>
              <a:rPr lang="en-AU" dirty="0"/>
              <a:t>Example: OmiseGO (OMG).</a:t>
            </a:r>
          </a:p>
          <a:p>
            <a:pPr marL="497699" lvl="3" indent="0">
              <a:buNone/>
            </a:pPr>
            <a:r>
              <a:rPr lang="en-AU" sz="1400" dirty="0"/>
              <a:t>“The OmiseGO blockchain comprises a decentralized exchange, liquidity provider mechanism, clearinghouse messaging network, and asset-backed blockchain gateway. … It uses the mechanism of a protocol token to create a proof-of-stake blockchain to enable enforcement of market activity amongst participants. Owning OMG tokens buys the right to validate this blockchain, within its consensus rules.”</a:t>
            </a:r>
            <a:endParaRPr lang="en-AU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AU" dirty="0"/>
              <a:t>Non-fungible tokens</a:t>
            </a:r>
          </a:p>
          <a:p>
            <a:pPr lvl="1"/>
            <a:r>
              <a:rPr lang="en-AU" dirty="0"/>
              <a:t>E.g., houses, cars, patents</a:t>
            </a:r>
          </a:p>
          <a:p>
            <a:pPr lvl="1"/>
            <a:r>
              <a:rPr lang="en-AU" dirty="0"/>
              <a:t>Main concern: which ones?</a:t>
            </a:r>
          </a:p>
          <a:p>
            <a:pPr lvl="1"/>
            <a:r>
              <a:rPr lang="en-AU" dirty="0"/>
              <a:t>Ethereum: ERC721</a:t>
            </a:r>
          </a:p>
          <a:p>
            <a:pPr lvl="2"/>
            <a:r>
              <a:rPr lang="en-AU" sz="1200" dirty="0">
                <a:hlinkClick r:id="rId3"/>
              </a:rPr>
              <a:t>https://github.com/ethereum/EIPs/issues/721</a:t>
            </a:r>
            <a:r>
              <a:rPr lang="en-AU" sz="1200" dirty="0"/>
              <a:t> </a:t>
            </a:r>
          </a:p>
          <a:p>
            <a:pPr lvl="2"/>
            <a:r>
              <a:rPr lang="en-AU" dirty="0"/>
              <a:t>Example: cryptokitties </a:t>
            </a:r>
            <a:r>
              <a:rPr lang="en-AU" dirty="0">
                <a:hlinkClick r:id="rId4"/>
              </a:rPr>
              <a:t>https://www.cryptokitties.co/</a:t>
            </a:r>
            <a:r>
              <a:rPr lang="en-AU" dirty="0"/>
              <a:t> </a:t>
            </a:r>
          </a:p>
          <a:p>
            <a:pPr lvl="2"/>
            <a:endParaRPr lang="en-AU" dirty="0"/>
          </a:p>
          <a:p>
            <a:pPr lvl="2"/>
            <a:endParaRPr lang="en-AU" dirty="0"/>
          </a:p>
          <a:p>
            <a:pPr lvl="2"/>
            <a:endParaRPr lang="en-AU" dirty="0"/>
          </a:p>
          <a:p>
            <a:pPr lvl="2"/>
            <a:endParaRPr lang="en-AU" dirty="0"/>
          </a:p>
          <a:p>
            <a:pPr lvl="2"/>
            <a:r>
              <a:rPr lang="en-AU" dirty="0"/>
              <a:t>Kitties are non-fungible, individual, and their appearance depends on the individual features</a:t>
            </a:r>
          </a:p>
          <a:p>
            <a:pPr lvl="2"/>
            <a:endParaRPr lang="en-AU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dirty="0"/>
              <a:t>Recap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Fungible and Non-fungible Token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4033" y="3365373"/>
            <a:ext cx="1153328" cy="924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207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DE for data structures and toke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 dirty="0"/>
              <a:t>Approach:</a:t>
            </a:r>
          </a:p>
          <a:p>
            <a:pPr lvl="1"/>
            <a:r>
              <a:rPr lang="en-AU" dirty="0"/>
              <a:t>Enter high-level information</a:t>
            </a:r>
          </a:p>
          <a:p>
            <a:pPr lvl="1"/>
            <a:r>
              <a:rPr lang="en-AU" dirty="0"/>
              <a:t>Model data structure (variables, types) – not for fungible tokens</a:t>
            </a:r>
          </a:p>
          <a:p>
            <a:pPr lvl="1"/>
            <a:r>
              <a:rPr lang="en-AU" dirty="0"/>
              <a:t>Model relationships to other types / tokens</a:t>
            </a:r>
          </a:p>
          <a:p>
            <a:pPr lvl="1"/>
            <a:r>
              <a:rPr lang="en-AU" dirty="0"/>
              <a:t>Select features</a:t>
            </a:r>
          </a:p>
          <a:p>
            <a:pPr marL="179993" lvl="1" indent="0">
              <a:buNone/>
            </a:pPr>
            <a:r>
              <a:rPr lang="en-AU" dirty="0">
                <a:sym typeface="Wingdings" panose="05000000000000000000" pitchFamily="2" charset="2"/>
              </a:rPr>
              <a:t> Code is generated – deploy directly or customize</a:t>
            </a:r>
          </a:p>
          <a:p>
            <a:r>
              <a:rPr lang="en-AU" dirty="0">
                <a:sym typeface="Wingdings" panose="05000000000000000000" pitchFamily="2" charset="2"/>
              </a:rPr>
              <a:t>Feature examples:</a:t>
            </a:r>
          </a:p>
          <a:p>
            <a:pPr lvl="1"/>
            <a:r>
              <a:rPr lang="en-AU" dirty="0">
                <a:sym typeface="Wingdings" panose="05000000000000000000" pitchFamily="2" charset="2"/>
              </a:rPr>
              <a:t>Fungible tokens:</a:t>
            </a:r>
          </a:p>
          <a:p>
            <a:pPr lvl="2"/>
            <a:r>
              <a:rPr lang="en-AU" dirty="0">
                <a:sym typeface="Wingdings" panose="05000000000000000000" pitchFamily="2" charset="2"/>
              </a:rPr>
              <a:t>Can be minted? Burnt? By  whom?</a:t>
            </a:r>
          </a:p>
          <a:p>
            <a:pPr lvl="1"/>
            <a:r>
              <a:rPr lang="en-AU" dirty="0">
                <a:sym typeface="Wingdings" panose="05000000000000000000" pitchFamily="2" charset="2"/>
              </a:rPr>
              <a:t>Non-fungible tokens</a:t>
            </a:r>
          </a:p>
          <a:p>
            <a:pPr lvl="2"/>
            <a:r>
              <a:rPr lang="en-AU" dirty="0">
                <a:sym typeface="Wingdings" panose="05000000000000000000" pitchFamily="2" charset="2"/>
              </a:rPr>
              <a:t>Include standard method(s) for sale</a:t>
            </a:r>
          </a:p>
          <a:p>
            <a:pPr lvl="2"/>
            <a:r>
              <a:rPr lang="en-AU" dirty="0">
                <a:sym typeface="Wingdings" panose="05000000000000000000" pitchFamily="2" charset="2"/>
              </a:rPr>
              <a:t>One contract for all tokens or one per token?	</a:t>
            </a:r>
          </a:p>
          <a:p>
            <a:r>
              <a:rPr lang="en-AU" dirty="0">
                <a:sym typeface="Wingdings" panose="05000000000000000000" pitchFamily="2" charset="2"/>
              </a:rPr>
              <a:t>Code generated is compliant with standards</a:t>
            </a:r>
          </a:p>
          <a:p>
            <a:pPr marL="179993" lvl="1" indent="0">
              <a:buNone/>
            </a:pPr>
            <a:r>
              <a:rPr lang="en-AU" dirty="0">
                <a:sym typeface="Wingdings" panose="05000000000000000000" pitchFamily="2" charset="2"/>
              </a:rPr>
              <a:t> interface syntax and semantics</a:t>
            </a:r>
          </a:p>
        </p:txBody>
      </p:sp>
    </p:spTree>
    <p:extLst>
      <p:ext uri="{BB962C8B-B14F-4D97-AF65-F5344CB8AC3E}">
        <p14:creationId xmlns:p14="http://schemas.microsoft.com/office/powerpoint/2010/main" val="485055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/>
              <a:t>Individually (2 minutes):</a:t>
            </a:r>
          </a:p>
          <a:p>
            <a:pPr lvl="1"/>
            <a:r>
              <a:rPr lang="en-AU" dirty="0"/>
              <a:t>Open a new page / entry in your note pad / note-taking app</a:t>
            </a:r>
          </a:p>
          <a:p>
            <a:pPr lvl="1"/>
            <a:r>
              <a:rPr lang="en-AU" dirty="0"/>
              <a:t>Think about what data to model for exam registration</a:t>
            </a:r>
          </a:p>
          <a:p>
            <a:pPr lvl="1"/>
            <a:r>
              <a:rPr lang="en-AU" dirty="0"/>
              <a:t>Write down your top 6-10 data fields</a:t>
            </a:r>
          </a:p>
          <a:p>
            <a:r>
              <a:rPr lang="en-AU" dirty="0"/>
              <a:t>Discuss with your breakout group (5 minutes):</a:t>
            </a:r>
          </a:p>
          <a:p>
            <a:pPr lvl="1"/>
            <a:r>
              <a:rPr lang="en-AU" dirty="0"/>
              <a:t>Which data fields to keep, for on-chain storage in a permissioned ledger</a:t>
            </a:r>
          </a:p>
          <a:p>
            <a:pPr lvl="1"/>
            <a:r>
              <a:rPr lang="en-AU" dirty="0"/>
              <a:t>Think about any case-specific functions that a generic tool might not support &amp; write them dow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7353429-80A5-4A12-BE97-6627D04B1D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3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0158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Data61 tool: Lorikee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48000" y="1295999"/>
            <a:ext cx="3448348" cy="3845917"/>
          </a:xfrm>
        </p:spPr>
        <p:txBody>
          <a:bodyPr>
            <a:normAutofit lnSpcReduction="10000"/>
          </a:bodyPr>
          <a:lstStyle/>
          <a:p>
            <a:r>
              <a:rPr lang="en-AU" noProof="0" dirty="0"/>
              <a:t>Lorikeet: automatic generate smart contracts from BPMN models/registry data schema</a:t>
            </a:r>
          </a:p>
          <a:p>
            <a:r>
              <a:rPr lang="en-AU" noProof="0" dirty="0"/>
              <a:t>Publication:</a:t>
            </a:r>
            <a:br>
              <a:rPr lang="en-AU" noProof="0" dirty="0"/>
            </a:br>
            <a:r>
              <a:rPr lang="en-AU" sz="1700" dirty="0"/>
              <a:t>Qinghua Lu, An Binh Tran, Ingo Weber, Hugo O'Connor, Paul Rimba, Xiwei Xu, Mark Staples, Liming Zhu, and Ross Jeffery. </a:t>
            </a:r>
            <a:r>
              <a:rPr lang="en-AU" sz="1700" i="1" dirty="0"/>
              <a:t>Integrated model-driven engineering of blockchain applications for business processes and asset management.</a:t>
            </a:r>
            <a:r>
              <a:rPr lang="en-AU" sz="1700" dirty="0"/>
              <a:t> </a:t>
            </a:r>
            <a:br>
              <a:rPr lang="en-AU" sz="1700" dirty="0"/>
            </a:br>
            <a:r>
              <a:rPr lang="en-AU" sz="1700" dirty="0"/>
              <a:t>Software: Practice and Experience, 51(5):1059-1079, 2021.</a:t>
            </a:r>
            <a:br>
              <a:rPr lang="en-AU" sz="1700" dirty="0"/>
            </a:br>
            <a:r>
              <a:rPr lang="en-AU" sz="1700" dirty="0">
                <a:hlinkClick r:id="rId3"/>
              </a:rPr>
              <a:t>https://arxiv.org/abs/2005.12685</a:t>
            </a:r>
            <a:r>
              <a:rPr lang="en-AU" sz="1700" dirty="0"/>
              <a:t> </a:t>
            </a:r>
            <a:endParaRPr lang="en-AU" sz="1700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A1D625-84CF-4CE7-94DF-44C85F4913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6933" y="1198032"/>
            <a:ext cx="4241068" cy="3943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0493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BBF54-D16B-4020-BD11-0568119D2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3200" dirty="0"/>
              <a:t>Design time for fungible token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C0ADA76-375F-41FB-9823-188177C801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33730" y="1295400"/>
            <a:ext cx="5547977" cy="38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3664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BBF54-D16B-4020-BD11-0568119D2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306144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Design time for data models / non-fungible token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D2FF16D-7AF5-4345-A7C8-97723BC9FB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29858" y="1295400"/>
            <a:ext cx="5555721" cy="38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0996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D6D234-FFA9-42B4-AF46-FC64126158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AU" sz="4800" dirty="0"/>
              <a:t>MDE for process models</a:t>
            </a:r>
            <a:br>
              <a:rPr lang="en-AU" sz="4800" dirty="0"/>
            </a:br>
            <a:br>
              <a:rPr lang="en-AU" sz="4800" dirty="0"/>
            </a:br>
            <a:r>
              <a:rPr lang="en-AU" sz="2200" dirty="0"/>
              <a:t>Note: students are expected to have basic knowledge of BPMN</a:t>
            </a:r>
            <a:endParaRPr lang="en-DE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B28519-2DA4-4D73-90ED-5217A2F32BE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5119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MDE for </a:t>
            </a:r>
            <a:r>
              <a:rPr lang="en-AU" dirty="0"/>
              <a:t>Processes – </a:t>
            </a:r>
            <a:r>
              <a:rPr lang="en-AU" noProof="0" dirty="0"/>
              <a:t>Motiv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sz="2333" dirty="0"/>
              <a:t>Integration of business processes across organizations:</a:t>
            </a:r>
            <a:br>
              <a:rPr lang="en-AU" sz="2333" dirty="0"/>
            </a:br>
            <a:r>
              <a:rPr lang="en-AU" sz="2333" dirty="0"/>
              <a:t>a key driver of productivity gains</a:t>
            </a:r>
          </a:p>
          <a:p>
            <a:r>
              <a:rPr lang="en-AU" sz="2333" dirty="0"/>
              <a:t>Collaborative process execution </a:t>
            </a:r>
          </a:p>
          <a:p>
            <a:pPr lvl="1"/>
            <a:r>
              <a:rPr lang="en-AU" sz="2000" dirty="0"/>
              <a:t>Doable when there is trust – supply chains can be tightly integrated</a:t>
            </a:r>
          </a:p>
          <a:p>
            <a:pPr lvl="1"/>
            <a:r>
              <a:rPr lang="en-AU" sz="2000" dirty="0"/>
              <a:t>Problematic when involved organizations have a </a:t>
            </a:r>
            <a:r>
              <a:rPr lang="en-AU" sz="2000" b="1" dirty="0"/>
              <a:t>lack of trust </a:t>
            </a:r>
            <a:r>
              <a:rPr lang="en-AU" sz="2000" dirty="0"/>
              <a:t>in each other</a:t>
            </a:r>
            <a:br>
              <a:rPr lang="en-AU" sz="2000" dirty="0"/>
            </a:br>
            <a:r>
              <a:rPr lang="en-AU" sz="2000" dirty="0">
                <a:sym typeface="Wingdings" panose="05000000000000000000" pitchFamily="2" charset="2"/>
              </a:rPr>
              <a:t> </a:t>
            </a:r>
            <a:r>
              <a:rPr lang="en-AU" sz="2000" dirty="0"/>
              <a:t>if 3+ parties should collaborate, where to execute the process that ties them together?</a:t>
            </a:r>
          </a:p>
          <a:p>
            <a:pPr lvl="1"/>
            <a:r>
              <a:rPr lang="en-AU" sz="2000" dirty="0"/>
              <a:t>Common situation in “coopetition”</a:t>
            </a:r>
          </a:p>
        </p:txBody>
      </p:sp>
    </p:spTree>
    <p:extLst>
      <p:ext uri="{BB962C8B-B14F-4D97-AF65-F5344CB8AC3E}">
        <p14:creationId xmlns:p14="http://schemas.microsoft.com/office/powerpoint/2010/main" val="167775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Motivation: example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2E8F2181-2DE3-41BD-A329-E85B479544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8000" y="1141945"/>
            <a:ext cx="6120502" cy="359018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986522" y="1449017"/>
            <a:ext cx="1706599" cy="11726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70" dirty="0"/>
              <a:t>Issues:</a:t>
            </a:r>
          </a:p>
          <a:p>
            <a:pPr marL="88900" indent="-88900">
              <a:buFontTx/>
              <a:buChar char="-"/>
            </a:pPr>
            <a:r>
              <a:rPr lang="de-DE" sz="1170" dirty="0"/>
              <a:t>Knowing the status, tracking correct execution</a:t>
            </a:r>
          </a:p>
          <a:p>
            <a:pPr marL="88900" indent="-88900">
              <a:buFontTx/>
              <a:buChar char="-"/>
            </a:pPr>
            <a:r>
              <a:rPr lang="de-DE" sz="1170" dirty="0"/>
              <a:t>Handling payments</a:t>
            </a:r>
          </a:p>
          <a:p>
            <a:pPr marL="88900" indent="-88900">
              <a:buFontTx/>
              <a:buChar char="-"/>
            </a:pPr>
            <a:r>
              <a:rPr lang="de-DE" sz="1170" dirty="0"/>
              <a:t>Resolving conflicts</a:t>
            </a:r>
            <a:endParaRPr lang="en-AU" sz="1170" dirty="0"/>
          </a:p>
        </p:txBody>
      </p:sp>
    </p:spTree>
    <p:extLst>
      <p:ext uri="{BB962C8B-B14F-4D97-AF65-F5344CB8AC3E}">
        <p14:creationId xmlns:p14="http://schemas.microsoft.com/office/powerpoint/2010/main" val="1211313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76B5F-D504-463B-B98E-F12E9A17E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you learn today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27FBAE-B05A-4212-B904-9A7E2D6500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sz="2400" dirty="0"/>
              <a:t>Model-Driven Engineering basics</a:t>
            </a:r>
          </a:p>
          <a:p>
            <a:r>
              <a:rPr lang="en-AU" sz="2400" dirty="0"/>
              <a:t>MDE for data and token model</a:t>
            </a:r>
          </a:p>
          <a:p>
            <a:r>
              <a:rPr lang="en-AU" sz="2400" dirty="0"/>
              <a:t>MDE for process models</a:t>
            </a:r>
            <a:br>
              <a:rPr lang="en-AU" sz="2400" dirty="0"/>
            </a:b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8432F7-2C4C-4C45-BD7D-838B49D9EC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3429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Approach in a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 sz="2333" dirty="0"/>
              <a:t>Goal: implement collaborative business processes as smart contracts</a:t>
            </a:r>
          </a:p>
          <a:p>
            <a:pPr lvl="1"/>
            <a:r>
              <a:rPr lang="en-AU" sz="2000" dirty="0"/>
              <a:t>Translate (enriched) BPMN to smart contract code</a:t>
            </a:r>
          </a:p>
          <a:p>
            <a:pPr lvl="1"/>
            <a:r>
              <a:rPr lang="en-AU" sz="2000" dirty="0"/>
              <a:t>Triggers act as bridge between Enterprise world and blockchain</a:t>
            </a:r>
          </a:p>
          <a:p>
            <a:pPr lvl="1"/>
            <a:r>
              <a:rPr lang="en-AU" sz="2000" dirty="0"/>
              <a:t>Smart contract provides:</a:t>
            </a:r>
          </a:p>
          <a:p>
            <a:pPr lvl="2"/>
            <a:r>
              <a:rPr lang="en-AU" noProof="0" dirty="0"/>
              <a:t>Independent, global process monitoring</a:t>
            </a:r>
          </a:p>
          <a:p>
            <a:pPr lvl="2"/>
            <a:r>
              <a:rPr lang="en-AU" noProof="0" dirty="0"/>
              <a:t>Conformance checking and process enforcement: only expected messages are accepted, only from the respective role</a:t>
            </a:r>
          </a:p>
          <a:p>
            <a:pPr lvl="2"/>
            <a:r>
              <a:rPr lang="en-AU" noProof="0" dirty="0"/>
              <a:t>Automatic payments &amp; escrow</a:t>
            </a:r>
          </a:p>
          <a:p>
            <a:pPr lvl="2"/>
            <a:r>
              <a:rPr lang="en-AU" noProof="0" dirty="0"/>
              <a:t>Data transformation</a:t>
            </a:r>
          </a:p>
          <a:p>
            <a:pPr lvl="2"/>
            <a:r>
              <a:rPr lang="en-AU" noProof="0" dirty="0"/>
              <a:t>Encryption</a:t>
            </a:r>
          </a:p>
          <a:p>
            <a:r>
              <a:rPr lang="en-AU" sz="2333" dirty="0"/>
              <a:t>Processes can make use of data / token contracts</a:t>
            </a:r>
          </a:p>
          <a:p>
            <a:pPr lvl="1"/>
            <a:r>
              <a:rPr lang="en-AU" sz="2000" dirty="0"/>
              <a:t>Process activity to hand over title to a car / shipment / grain / ..., e.g., in exchange for fungible tokens</a:t>
            </a:r>
          </a:p>
        </p:txBody>
      </p:sp>
    </p:spTree>
    <p:extLst>
      <p:ext uri="{BB962C8B-B14F-4D97-AF65-F5344CB8AC3E}">
        <p14:creationId xmlns:p14="http://schemas.microsoft.com/office/powerpoint/2010/main" val="3801423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Architecture overview</a:t>
            </a: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81939" y="1227976"/>
            <a:ext cx="4851560" cy="38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0525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Runti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/>
              <a:t>Instantiation:</a:t>
            </a:r>
          </a:p>
          <a:p>
            <a:pPr lvl="1"/>
            <a:r>
              <a:rPr lang="en-AU" dirty="0"/>
              <a:t>New </a:t>
            </a:r>
            <a:r>
              <a:rPr lang="en-AU" i="1" dirty="0"/>
              <a:t>instance contract </a:t>
            </a:r>
            <a:r>
              <a:rPr lang="en-AU" dirty="0"/>
              <a:t>per process instance</a:t>
            </a:r>
          </a:p>
          <a:p>
            <a:pPr lvl="1"/>
            <a:r>
              <a:rPr lang="en-AU" dirty="0"/>
              <a:t>Assign accounts to roles during initialization</a:t>
            </a:r>
          </a:p>
          <a:p>
            <a:pPr lvl="1"/>
            <a:r>
              <a:rPr lang="en-AU" dirty="0"/>
              <a:t>Exchange keys and create secret key for the instance</a:t>
            </a:r>
          </a:p>
          <a:p>
            <a:r>
              <a:rPr lang="en-AU" dirty="0"/>
              <a:t>Messaging:</a:t>
            </a:r>
          </a:p>
          <a:p>
            <a:pPr lvl="1"/>
            <a:r>
              <a:rPr lang="en-AU" dirty="0"/>
              <a:t>Instead of sending direct Web Service calls: send through triggers &amp; smart contract</a:t>
            </a:r>
          </a:p>
          <a:p>
            <a:pPr lvl="1"/>
            <a:r>
              <a:rPr lang="en-AU" dirty="0"/>
              <a:t>Instance contract handles:</a:t>
            </a:r>
          </a:p>
          <a:p>
            <a:pPr lvl="2"/>
            <a:r>
              <a:rPr lang="en-AU" dirty="0"/>
              <a:t>Global monitoring</a:t>
            </a:r>
          </a:p>
          <a:p>
            <a:pPr lvl="2"/>
            <a:r>
              <a:rPr lang="en-AU" dirty="0"/>
              <a:t>Conformance checking and model enforcement: execution cannot deviate from model</a:t>
            </a:r>
          </a:p>
          <a:p>
            <a:pPr lvl="2"/>
            <a:r>
              <a:rPr lang="en-AU" dirty="0"/>
              <a:t>Automated payments*</a:t>
            </a:r>
          </a:p>
          <a:p>
            <a:pPr lvl="2"/>
            <a:r>
              <a:rPr lang="en-AU" dirty="0"/>
              <a:t>Data transformation*</a:t>
            </a:r>
          </a:p>
          <a:p>
            <a:pPr marL="685800" lvl="2" indent="0">
              <a:buNone/>
            </a:pPr>
            <a:r>
              <a:rPr lang="en-AU" dirty="0"/>
              <a:t>(*: optional, if certain assumptions are met)</a:t>
            </a:r>
          </a:p>
        </p:txBody>
      </p:sp>
    </p:spTree>
    <p:extLst>
      <p:ext uri="{BB962C8B-B14F-4D97-AF65-F5344CB8AC3E}">
        <p14:creationId xmlns:p14="http://schemas.microsoft.com/office/powerpoint/2010/main" val="4166661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Runtime – UML Sequence</a:t>
            </a:r>
            <a:r>
              <a:rPr lang="en-AU" dirty="0"/>
              <a:t> Diagram</a:t>
            </a:r>
            <a:endParaRPr lang="en-AU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000" y="1473824"/>
            <a:ext cx="7920000" cy="320400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6144670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2800" dirty="0"/>
              <a:t>Collaborative processes: variants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7700" y="1497483"/>
            <a:ext cx="7920038" cy="344234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558898" y="1196019"/>
            <a:ext cx="6164734" cy="27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70" dirty="0"/>
              <a:t>Mediator (orchestration)                              		                Choreography </a:t>
            </a:r>
            <a:r>
              <a:rPr lang="de-DE" sz="1170" dirty="0">
                <a:sym typeface="Wingdings" panose="05000000000000000000" pitchFamily="2" charset="2"/>
              </a:rPr>
              <a:t> C-Monitor</a:t>
            </a:r>
            <a:r>
              <a:rPr lang="de-DE" sz="1170" dirty="0"/>
              <a:t> </a:t>
            </a:r>
            <a:endParaRPr lang="en-AU" sz="1170" dirty="0"/>
          </a:p>
        </p:txBody>
      </p:sp>
    </p:spTree>
    <p:extLst>
      <p:ext uri="{BB962C8B-B14F-4D97-AF65-F5344CB8AC3E}">
        <p14:creationId xmlns:p14="http://schemas.microsoft.com/office/powerpoint/2010/main" val="23590100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Transla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noProof="0" dirty="0"/>
              <a:t>Translate subset of BPMN elements to Solidity</a:t>
            </a:r>
          </a:p>
          <a:p>
            <a:pPr lvl="1"/>
            <a:r>
              <a:rPr lang="en-AU" dirty="0"/>
              <a:t>BPMN Choreography diagrams or regular BPMN models with pools</a:t>
            </a:r>
          </a:p>
          <a:p>
            <a:pPr lvl="1"/>
            <a:r>
              <a:rPr lang="en-AU" dirty="0"/>
              <a:t>BPMN Choreography diagram example: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9544" y="2240740"/>
            <a:ext cx="6476912" cy="2755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071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621EB-394F-47C5-9EA2-94D40C43D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320799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Combining process and data/token models</a:t>
            </a:r>
            <a:br>
              <a:rPr lang="en-AU" sz="2800" dirty="0"/>
            </a:br>
            <a:r>
              <a:rPr lang="en-AU" sz="2800" dirty="0"/>
              <a:t>Example: ICO proces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0AA9F5D-56AD-45EA-A5C1-B65ABA3B05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47700" y="1634649"/>
            <a:ext cx="4871504" cy="1948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103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2679007-78ED-4967-8EC7-0E13227DA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320799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Combining process and data/token models</a:t>
            </a:r>
            <a:br>
              <a:rPr lang="en-AU" sz="2800" dirty="0"/>
            </a:br>
            <a:r>
              <a:rPr lang="en-AU" sz="2800" dirty="0"/>
              <a:t>Example: quality tracing proces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4C6971D-2400-44F5-A0DE-BFA600D9A7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25107" y="1295400"/>
            <a:ext cx="6765224" cy="38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8612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2679007-78ED-4967-8EC7-0E13227DA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320799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Combining process and data/token models</a:t>
            </a:r>
            <a:br>
              <a:rPr lang="en-AU" sz="2800" dirty="0"/>
            </a:br>
            <a:r>
              <a:rPr lang="en-AU" sz="2800" dirty="0"/>
              <a:t>Example: grain sales process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3F63AECD-E6C1-46EA-982D-0C45E82087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520061" y="1295400"/>
            <a:ext cx="4175316" cy="38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62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3C29362D-8BF7-4833-8158-8EEC376294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09" y="1295400"/>
            <a:ext cx="7113619" cy="3846513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B87188E-9741-46A0-B8DA-2852157F18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62500" lnSpcReduction="20000"/>
          </a:bodyPr>
          <a:lstStyle/>
          <a:p>
            <a:r>
              <a:rPr lang="de-DE" dirty="0"/>
              <a:t>Demo </a:t>
            </a:r>
            <a:r>
              <a:rPr lang="de-DE" dirty="0" err="1"/>
              <a:t>video</a:t>
            </a:r>
            <a:r>
              <a:rPr lang="de-DE" dirty="0"/>
              <a:t>: </a:t>
            </a:r>
            <a:r>
              <a:rPr lang="de-DE" dirty="0">
                <a:hlinkClick r:id="rId3"/>
              </a:rPr>
              <a:t>https://drive.google.com/file/d/1rpy-oHbDVkXa6u4Fn73wSX8rINn1sv3U/view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Tooling: Design time (Lorikeet)</a:t>
            </a:r>
          </a:p>
        </p:txBody>
      </p:sp>
    </p:spTree>
    <p:extLst>
      <p:ext uri="{BB962C8B-B14F-4D97-AF65-F5344CB8AC3E}">
        <p14:creationId xmlns:p14="http://schemas.microsoft.com/office/powerpoint/2010/main" val="2938987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D6D234-FFA9-42B4-AF46-FC64126158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AU" sz="4800" dirty="0"/>
              <a:t>Model-Driven Engineering basic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B28519-2DA4-4D73-90ED-5217A2F32BE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3044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ooling: Runtime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46221" y="1295400"/>
            <a:ext cx="6922996" cy="384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3901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7591EC2-4227-404F-98A1-1F67BC0091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8668" y="2532263"/>
            <a:ext cx="5867121" cy="1486036"/>
          </a:xfrm>
        </p:spPr>
        <p:txBody>
          <a:bodyPr>
            <a:normAutofit fontScale="90000"/>
          </a:bodyPr>
          <a:lstStyle/>
          <a:p>
            <a:r>
              <a:rPr lang="en-AU" sz="4400" noProof="0" dirty="0"/>
              <a:t>Summary:</a:t>
            </a:r>
            <a:br>
              <a:rPr lang="en-AU" sz="4400" noProof="0" dirty="0"/>
            </a:br>
            <a:r>
              <a:rPr lang="en-AU" sz="3200" noProof="0" dirty="0"/>
              <a:t>- Model-Driven Engineering basics</a:t>
            </a:r>
            <a:br>
              <a:rPr lang="en-AU" sz="3200" noProof="0" dirty="0"/>
            </a:br>
            <a:r>
              <a:rPr lang="en-AU" sz="3200" dirty="0"/>
              <a:t>- MDE for data and token model</a:t>
            </a:r>
            <a:br>
              <a:rPr lang="en-AU" sz="3200" dirty="0"/>
            </a:br>
            <a:r>
              <a:rPr lang="en-AU" sz="3200" dirty="0"/>
              <a:t>- MDE for process models</a:t>
            </a:r>
            <a:br>
              <a:rPr lang="en-AU" sz="3200" dirty="0"/>
            </a:br>
            <a:endParaRPr lang="en-AU" sz="4400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62727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DE &amp; related tools for blockchain</a:t>
            </a:r>
            <a:endParaRPr lang="en-AU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Lorikeet (and its predecessor Regerator &amp; BPM work)</a:t>
            </a:r>
          </a:p>
          <a:p>
            <a:pPr lvl="1"/>
            <a:r>
              <a:rPr lang="de-DE" dirty="0"/>
              <a:t>Tools are not publicly available, but lots of information/papers on our website:</a:t>
            </a:r>
            <a:br>
              <a:rPr lang="de-DE" dirty="0"/>
            </a:br>
            <a:r>
              <a:rPr lang="de-DE" dirty="0">
                <a:hlinkClick r:id="rId2"/>
              </a:rPr>
              <a:t>https://research.csiro.au/data61/blockchain/</a:t>
            </a:r>
            <a:r>
              <a:rPr lang="de-DE" dirty="0"/>
              <a:t> </a:t>
            </a:r>
          </a:p>
          <a:p>
            <a:r>
              <a:rPr lang="de-DE" dirty="0"/>
              <a:t>Caterpillar – open-source BPMN execution engine (Uni Tartu &amp; Data61)</a:t>
            </a:r>
          </a:p>
          <a:p>
            <a:pPr lvl="1"/>
            <a:r>
              <a:rPr lang="de-DE" dirty="0">
                <a:hlinkClick r:id="rId3"/>
              </a:rPr>
              <a:t>https://github.com/orlenyslp/Caterpillar</a:t>
            </a:r>
            <a:r>
              <a:rPr lang="de-DE" dirty="0"/>
              <a:t> </a:t>
            </a:r>
          </a:p>
          <a:p>
            <a:r>
              <a:rPr lang="de-DE" dirty="0"/>
              <a:t>Regis – registry generator</a:t>
            </a:r>
          </a:p>
          <a:p>
            <a:pPr lvl="1"/>
            <a:r>
              <a:rPr lang="de-DE" dirty="0">
                <a:hlinkClick r:id="rId4"/>
              </a:rPr>
              <a:t>https://regis.nu/</a:t>
            </a:r>
            <a:r>
              <a:rPr lang="de-DE" dirty="0"/>
              <a:t> </a:t>
            </a:r>
          </a:p>
          <a:p>
            <a:r>
              <a:rPr lang="de-DE" dirty="0"/>
              <a:t>Hyperledger Composer – for HLF business networks</a:t>
            </a:r>
          </a:p>
          <a:p>
            <a:pPr lvl="1"/>
            <a:r>
              <a:rPr lang="de-DE" dirty="0">
                <a:hlinkClick r:id="rId5"/>
              </a:rPr>
              <a:t>https://www.hyperledger.org/projects/composer</a:t>
            </a:r>
            <a:r>
              <a:rPr lang="de-DE" dirty="0"/>
              <a:t> </a:t>
            </a:r>
          </a:p>
          <a:p>
            <a:r>
              <a:rPr lang="de-DE" dirty="0"/>
              <a:t>Other organisations (including Consensys) are working on tools, but most are not publicly available as yet</a:t>
            </a:r>
          </a:p>
          <a:p>
            <a:pPr lvl="1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889608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Model-driven Engineering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C51412D-BE86-4A62-9487-EE019AAC513D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1631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 dirty="0"/>
              <a:t>Motivation for MD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AU" noProof="0" dirty="0"/>
              <a:t>Blockchain is still a relatively new technology with limited tooling and documentation, skill set is rare</a:t>
            </a:r>
          </a:p>
          <a:p>
            <a:r>
              <a:rPr lang="en-AU" noProof="0" dirty="0"/>
              <a:t>According to a survey by Gartner, “23% of [relevant surveyed] CIOs said that blockchain requires the newest skills for implementation at various application areas, while 18% said that blockchain technique itself is one of the most difficult.”</a:t>
            </a:r>
            <a:r>
              <a:rPr lang="en-AU" baseline="30000" dirty="0"/>
              <a:t>1</a:t>
            </a:r>
            <a:endParaRPr lang="en-AU" noProof="0" dirty="0"/>
          </a:p>
          <a:p>
            <a:r>
              <a:rPr lang="en-AU" noProof="0" dirty="0"/>
              <a:t>Mistakes in smart contracts have led to massive economic loss, such as the DAO exploit</a:t>
            </a:r>
          </a:p>
          <a:p>
            <a:r>
              <a:rPr lang="en-AU" noProof="0" dirty="0"/>
              <a:t>According</a:t>
            </a:r>
            <a:r>
              <a:rPr lang="en-AU" dirty="0"/>
              <a:t> to an ACS / Data61 report from 2019: 14 jobs per blockchain developer</a:t>
            </a:r>
            <a:r>
              <a:rPr lang="en-AU" baseline="30000" dirty="0"/>
              <a:t>2</a:t>
            </a:r>
          </a:p>
          <a:p>
            <a:pPr lvl="2"/>
            <a:endParaRPr lang="en-AU" sz="1500" baseline="30000" noProof="0" dirty="0"/>
          </a:p>
          <a:p>
            <a:pPr marL="357840" lvl="2" indent="0">
              <a:buNone/>
            </a:pPr>
            <a:endParaRPr lang="en-AU" baseline="30000" noProof="0" dirty="0"/>
          </a:p>
          <a:p>
            <a:pPr marL="73080" indent="0">
              <a:buNone/>
            </a:pPr>
            <a:r>
              <a:rPr lang="en-AU" sz="1800" baseline="30000" dirty="0"/>
              <a:t>[1] Gartner Press Release. Gartner Survey Reveals the Scarcity of Current Blockchain Deployments. (3 May 2018). </a:t>
            </a:r>
            <a:r>
              <a:rPr lang="en-AU" sz="1800" baseline="30000" dirty="0">
                <a:hlinkClick r:id="rId3"/>
              </a:rPr>
              <a:t>https://www.gartner.com/newsroom/id/3873790</a:t>
            </a:r>
            <a:r>
              <a:rPr lang="en-AU" sz="1800" baseline="30000" dirty="0"/>
              <a:t>  </a:t>
            </a:r>
          </a:p>
          <a:p>
            <a:pPr marL="73080" indent="0">
              <a:buNone/>
            </a:pPr>
            <a:r>
              <a:rPr lang="en-AU" sz="1800" baseline="30000" dirty="0"/>
              <a:t>[2] Bratanova, A., Devaraj, D., Horton, J., </a:t>
            </a:r>
            <a:r>
              <a:rPr lang="en-AU" sz="1800" baseline="30000" dirty="0" err="1"/>
              <a:t>Naughtin</a:t>
            </a:r>
            <a:r>
              <a:rPr lang="en-AU" sz="1800" baseline="30000" dirty="0"/>
              <a:t>, C., </a:t>
            </a:r>
            <a:r>
              <a:rPr lang="en-AU" sz="1800" baseline="30000" dirty="0" err="1"/>
              <a:t>Kloester</a:t>
            </a:r>
            <a:r>
              <a:rPr lang="en-AU" sz="1800" baseline="30000" dirty="0"/>
              <a:t>, B., Trinh, K., Weber, I., Dawson, D. (2019) Blockchain 2030: A Look at the Future of Blockchain in Australia. CSIRO Data61: Brisbane, Australia. </a:t>
            </a:r>
            <a:r>
              <a:rPr lang="en-AU" sz="1800" baseline="30000" dirty="0">
                <a:hlinkClick r:id="rId4"/>
              </a:rPr>
              <a:t>https://www.researchgate.net/publication/332298704_Blockchain_2030_A_Look_at_the_Future_of_Blockchain_in_Australia</a:t>
            </a:r>
            <a:r>
              <a:rPr lang="en-AU" sz="1800" baseline="30000" dirty="0"/>
              <a:t> </a:t>
            </a:r>
          </a:p>
          <a:p>
            <a:endParaRPr lang="en-AU" noProof="0" dirty="0"/>
          </a:p>
          <a:p>
            <a:pPr marL="0" indent="0">
              <a:buNone/>
            </a:pP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341039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odel-driven Engineer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 dirty="0"/>
              <a:t>A methodology for using models at various levels of abstraction and for different purposes during software development</a:t>
            </a:r>
          </a:p>
          <a:p>
            <a:pPr lvl="1"/>
            <a:r>
              <a:rPr lang="en-AU" dirty="0"/>
              <a:t>Often concern-specific or domain-specific modelling languages</a:t>
            </a:r>
          </a:p>
          <a:p>
            <a:pPr lvl="1"/>
            <a:r>
              <a:rPr lang="en-AU" dirty="0"/>
              <a:t>“Architecture-centric MDE”: architecture is the domain</a:t>
            </a:r>
          </a:p>
          <a:p>
            <a:pPr lvl="1"/>
            <a:r>
              <a:rPr lang="en-AU" dirty="0"/>
              <a:t>Text-based or graphical modelling notations can be used (i.e., not </a:t>
            </a:r>
            <a:r>
              <a:rPr lang="en-AU" i="1" dirty="0"/>
              <a:t>necessarily</a:t>
            </a:r>
            <a:r>
              <a:rPr lang="en-AU" dirty="0"/>
              <a:t> graphical)</a:t>
            </a:r>
          </a:p>
          <a:p>
            <a:pPr lvl="1"/>
            <a:r>
              <a:rPr lang="en-AU" dirty="0"/>
              <a:t>Can cover static structures (like data models) or dynamic behaviour (like activity sequences)</a:t>
            </a:r>
          </a:p>
          <a:p>
            <a:pPr fontAlgn="ctr"/>
            <a:r>
              <a:rPr lang="en-AU" dirty="0"/>
              <a:t>Requires you to formalize the architecture, can be an “architectural catalyst”</a:t>
            </a:r>
          </a:p>
          <a:p>
            <a:pPr lvl="1" fontAlgn="ctr"/>
            <a:r>
              <a:rPr lang="en-AU" sz="1800" dirty="0"/>
              <a:t>Helps to get a usable blueprint of the system</a:t>
            </a:r>
          </a:p>
          <a:p>
            <a:pPr lvl="1" fontAlgn="ctr"/>
            <a:r>
              <a:rPr lang="en-AU" sz="1800" dirty="0"/>
              <a:t>Makes architecture models immediately useful &amp; motivates up-to-</a:t>
            </a:r>
            <a:r>
              <a:rPr lang="en-AU" sz="1800" dirty="0" err="1"/>
              <a:t>dateness</a:t>
            </a:r>
            <a:endParaRPr lang="en-AU" sz="1800" dirty="0"/>
          </a:p>
          <a:p>
            <a:pPr lvl="1" fontAlgn="ctr"/>
            <a:r>
              <a:rPr lang="en-AU" sz="1800" dirty="0"/>
              <a:t>Architecture diagrams become </a:t>
            </a:r>
            <a:r>
              <a:rPr lang="en-AU" sz="1800" b="1" dirty="0"/>
              <a:t>technical artefacts</a:t>
            </a:r>
            <a:r>
              <a:rPr lang="en-AU" sz="1800" dirty="0"/>
              <a:t> of the system</a:t>
            </a:r>
          </a:p>
          <a:p>
            <a:pPr fontAlgn="ctr"/>
            <a:r>
              <a:rPr lang="en-AU" dirty="0"/>
              <a:t>MDE can increase code quality and, even when starting from scratch, pay off within weeks </a:t>
            </a:r>
          </a:p>
        </p:txBody>
      </p:sp>
    </p:spTree>
    <p:extLst>
      <p:ext uri="{BB962C8B-B14F-4D97-AF65-F5344CB8AC3E}">
        <p14:creationId xmlns:p14="http://schemas.microsoft.com/office/powerpoint/2010/main" val="4261350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2800" dirty="0"/>
              <a:t>Model-driven Engineering – Modelling lev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 dirty="0"/>
              <a:t>Models are abstractions; what to model and what to abstract depends on the purpose</a:t>
            </a:r>
          </a:p>
          <a:p>
            <a:pPr lvl="1"/>
            <a:r>
              <a:rPr lang="en-AU" dirty="0"/>
              <a:t>“[A] model which took account of all the variegation of reality would be of no more use than a map at the scale of one to one.” Joan Robinson, 1962</a:t>
            </a:r>
          </a:p>
          <a:p>
            <a:r>
              <a:rPr lang="en-AU" dirty="0"/>
              <a:t>Low-level models: production code can be directly derived from the models</a:t>
            </a:r>
          </a:p>
          <a:p>
            <a:r>
              <a:rPr lang="en-AU" dirty="0"/>
              <a:t>High-level models: means of communication between business owners and developers implementing a system</a:t>
            </a:r>
          </a:p>
          <a:p>
            <a:r>
              <a:rPr lang="en-AU" dirty="0"/>
              <a:t>Intermediate levels can support model-based system analysis or system management tools</a:t>
            </a:r>
          </a:p>
          <a:p>
            <a:pPr lvl="1"/>
            <a:r>
              <a:rPr lang="en-AU" dirty="0"/>
              <a:t>Recall cost models from Lecture 12</a:t>
            </a:r>
          </a:p>
          <a:p>
            <a:r>
              <a:rPr lang="en-AU" dirty="0"/>
              <a:t>Any level: can generate some of the code:</a:t>
            </a:r>
          </a:p>
          <a:p>
            <a:pPr lvl="1"/>
            <a:r>
              <a:rPr lang="en-AU" dirty="0"/>
              <a:t>Code skeleton or early version of the code</a:t>
            </a:r>
          </a:p>
          <a:p>
            <a:pPr lvl="1"/>
            <a:r>
              <a:rPr lang="en-AU" dirty="0"/>
              <a:t>Glue code and boilerplate code</a:t>
            </a:r>
          </a:p>
        </p:txBody>
      </p:sp>
    </p:spTree>
    <p:extLst>
      <p:ext uri="{BB962C8B-B14F-4D97-AF65-F5344CB8AC3E}">
        <p14:creationId xmlns:p14="http://schemas.microsoft.com/office/powerpoint/2010/main" val="3135387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DE vs. MDD vs. M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U" dirty="0"/>
              <a:t>Model-driven development (MDD) vs. MDE:</a:t>
            </a:r>
          </a:p>
          <a:p>
            <a:pPr lvl="1"/>
            <a:r>
              <a:rPr lang="en-AU" dirty="0"/>
              <a:t>The parts of MDE that focus on code generation: MDD</a:t>
            </a:r>
          </a:p>
          <a:p>
            <a:pPr lvl="1"/>
            <a:r>
              <a:rPr lang="en-AU" dirty="0"/>
              <a:t>Think of software engineering vs. software development</a:t>
            </a:r>
          </a:p>
          <a:p>
            <a:pPr marL="202860" lvl="1" indent="0">
              <a:buNone/>
            </a:pPr>
            <a:endParaRPr lang="en-AU" dirty="0"/>
          </a:p>
          <a:p>
            <a:r>
              <a:rPr lang="en-AU" dirty="0"/>
              <a:t>Model-driven architecture (MDA) vs. MDD/MDE:</a:t>
            </a:r>
          </a:p>
          <a:p>
            <a:pPr lvl="1"/>
            <a:r>
              <a:rPr lang="en-AU" dirty="0"/>
              <a:t>OMG’s standard for MDE, using OMG modelling languages – primarily Unified </a:t>
            </a:r>
            <a:r>
              <a:rPr lang="en-AU" dirty="0" err="1"/>
              <a:t>Modeling</a:t>
            </a:r>
            <a:r>
              <a:rPr lang="en-AU" dirty="0"/>
              <a:t> Language (UML)</a:t>
            </a:r>
          </a:p>
          <a:p>
            <a:pPr lvl="2"/>
            <a:r>
              <a:rPr lang="en-AU" dirty="0">
                <a:hlinkClick r:id="rId2"/>
              </a:rPr>
              <a:t>https://www.omg.org/mda/</a:t>
            </a:r>
            <a:r>
              <a:rPr lang="en-AU" dirty="0"/>
              <a:t> </a:t>
            </a:r>
          </a:p>
          <a:p>
            <a:pPr lvl="1"/>
            <a:r>
              <a:rPr lang="en-AU" dirty="0"/>
              <a:t>Does not cover all aspects of an architecture, but architecture-centric models</a:t>
            </a:r>
          </a:p>
          <a:p>
            <a:pPr lvl="1"/>
            <a:r>
              <a:rPr lang="en-AU" dirty="0"/>
              <a:t>Foundation standard: Meta-Object Facility (MOF) – see next slide</a:t>
            </a:r>
          </a:p>
          <a:p>
            <a:pPr lvl="1"/>
            <a:r>
              <a:rPr lang="en-AU" dirty="0"/>
              <a:t>Other prominent concepts:</a:t>
            </a:r>
          </a:p>
          <a:p>
            <a:pPr lvl="2"/>
            <a:r>
              <a:rPr lang="en-AU" dirty="0"/>
              <a:t>Platform-Independent Model (PIM)</a:t>
            </a:r>
          </a:p>
          <a:p>
            <a:pPr lvl="2"/>
            <a:r>
              <a:rPr lang="en-AU" dirty="0"/>
              <a:t>Platform-Specific Model (PSM)</a:t>
            </a:r>
          </a:p>
          <a:p>
            <a:pPr lvl="2"/>
            <a:r>
              <a:rPr lang="en-AU" dirty="0"/>
              <a:t>Transformations: model-to-model or model-to-code</a:t>
            </a:r>
          </a:p>
        </p:txBody>
      </p:sp>
    </p:spTree>
    <p:extLst>
      <p:ext uri="{BB962C8B-B14F-4D97-AF65-F5344CB8AC3E}">
        <p14:creationId xmlns:p14="http://schemas.microsoft.com/office/powerpoint/2010/main" val="141482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eta-Object Facility (MOF)</a:t>
            </a:r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B3154D35-9EED-442E-A115-6F9ACC5044B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5643" y="1185839"/>
            <a:ext cx="4804151" cy="3846513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FCE328-760A-4A50-8301-78A02813D5ED}"/>
              </a:ext>
            </a:extLst>
          </p:cNvPr>
          <p:cNvSpPr txBox="1"/>
          <p:nvPr/>
        </p:nvSpPr>
        <p:spPr>
          <a:xfrm>
            <a:off x="648000" y="5068201"/>
            <a:ext cx="29546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Adapted from </a:t>
            </a:r>
            <a:r>
              <a:rPr lang="de-DE" sz="800" dirty="0">
                <a:hlinkClick r:id="rId3"/>
              </a:rPr>
              <a:t>https://en.wikipedia.org/wiki/Meta-Object_Facility</a:t>
            </a:r>
            <a:r>
              <a:rPr lang="de-DE" sz="800" dirty="0"/>
              <a:t> </a:t>
            </a:r>
            <a:endParaRPr lang="en-AU" sz="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8DA774-6BE6-4379-BEDE-697DD6B3DBD2}"/>
              </a:ext>
            </a:extLst>
          </p:cNvPr>
          <p:cNvSpPr txBox="1"/>
          <p:nvPr/>
        </p:nvSpPr>
        <p:spPr>
          <a:xfrm>
            <a:off x="2219711" y="3372130"/>
            <a:ext cx="701981" cy="6001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100" b="1" dirty="0">
                <a:solidFill>
                  <a:schemeClr val="bg1"/>
                </a:solidFill>
              </a:rPr>
              <a:t>User-defined model</a:t>
            </a:r>
            <a:endParaRPr lang="en-AU" sz="1100" b="1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4CB3BB-4B01-40A9-9B19-FBE8B19A5E56}"/>
              </a:ext>
            </a:extLst>
          </p:cNvPr>
          <p:cNvSpPr txBox="1"/>
          <p:nvPr/>
        </p:nvSpPr>
        <p:spPr>
          <a:xfrm>
            <a:off x="2253420" y="4364168"/>
            <a:ext cx="701981" cy="6001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100" b="1" dirty="0">
                <a:solidFill>
                  <a:schemeClr val="bg1"/>
                </a:solidFill>
              </a:rPr>
              <a:t>Real-world objects</a:t>
            </a:r>
            <a:endParaRPr lang="en-AU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924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13283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Advantages of MDE in the blockchain con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AU" dirty="0"/>
              <a:t>Code generation can implement best practices and well-tested building blocks</a:t>
            </a:r>
          </a:p>
          <a:p>
            <a:pPr lvl="1"/>
            <a:r>
              <a:rPr lang="en-AU" dirty="0"/>
              <a:t>Code can adhere to blockchain “standards” (like ERC-20, ERC-721, …)</a:t>
            </a:r>
          </a:p>
          <a:p>
            <a:r>
              <a:rPr lang="en-AU" dirty="0"/>
              <a:t>Improved productivity, especially for novices in a particular technology</a:t>
            </a:r>
          </a:p>
          <a:p>
            <a:pPr lvl="1"/>
            <a:r>
              <a:rPr lang="en-AU" dirty="0"/>
              <a:t>However: someone should understand the code and review it</a:t>
            </a:r>
          </a:p>
          <a:p>
            <a:r>
              <a:rPr lang="en-AU" dirty="0"/>
              <a:t>Models can be independent of specific blockchain technologies or platforms</a:t>
            </a:r>
          </a:p>
          <a:p>
            <a:pPr lvl="1"/>
            <a:r>
              <a:rPr lang="en-AU" dirty="0"/>
              <a:t>Avoid lock-in to specific blockchain technologies</a:t>
            </a:r>
          </a:p>
          <a:p>
            <a:r>
              <a:rPr lang="en-AU" dirty="0"/>
              <a:t>Models are often easier to understand than code – particularly useful in communicating with business partners about smart contracts</a:t>
            </a:r>
          </a:p>
          <a:p>
            <a:pPr lvl="1"/>
            <a:r>
              <a:rPr lang="en-AU" dirty="0"/>
              <a:t>Facilitates building trust</a:t>
            </a:r>
          </a:p>
          <a:p>
            <a:pPr lvl="1"/>
            <a:r>
              <a:rPr lang="en-AU" dirty="0"/>
              <a:t>Domain experts can understand how their ideas are represented in the system</a:t>
            </a:r>
          </a:p>
          <a:p>
            <a:pPr lvl="1"/>
            <a:r>
              <a:rPr lang="en-AU" dirty="0"/>
              <a:t>Business owners can better assess if smart contract (from a model) is acceptable</a:t>
            </a:r>
          </a:p>
        </p:txBody>
      </p:sp>
    </p:spTree>
    <p:extLst>
      <p:ext uri="{BB962C8B-B14F-4D97-AF65-F5344CB8AC3E}">
        <p14:creationId xmlns:p14="http://schemas.microsoft.com/office/powerpoint/2010/main" val="4044833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1_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0</TotalTime>
  <Words>1972</Words>
  <Application>Microsoft Office PowerPoint</Application>
  <PresentationFormat>On-screen Show (16:10)</PresentationFormat>
  <Paragraphs>196</Paragraphs>
  <Slides>33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8" baseType="lpstr">
      <vt:lpstr>等线</vt:lpstr>
      <vt:lpstr>Arial</vt:lpstr>
      <vt:lpstr>Calibri</vt:lpstr>
      <vt:lpstr>Wingdings</vt:lpstr>
      <vt:lpstr>1_Technische Universität Berlin | PowerPoint Master</vt:lpstr>
      <vt:lpstr>Model-driven Engineering</vt:lpstr>
      <vt:lpstr>What will you learn today</vt:lpstr>
      <vt:lpstr>Model-Driven Engineering basics</vt:lpstr>
      <vt:lpstr>Motivation for MDE</vt:lpstr>
      <vt:lpstr>Model-driven Engineering</vt:lpstr>
      <vt:lpstr>Model-driven Engineering – Modelling levels</vt:lpstr>
      <vt:lpstr>MDE vs. MDD vs. MDA</vt:lpstr>
      <vt:lpstr>Meta-Object Facility (MOF)</vt:lpstr>
      <vt:lpstr>Advantages of MDE in the blockchain context</vt:lpstr>
      <vt:lpstr>MDE for Data and Token model</vt:lpstr>
      <vt:lpstr>Fungible and Non-fungible Tokens</vt:lpstr>
      <vt:lpstr>MDE for data structures and tokens</vt:lpstr>
      <vt:lpstr>Student Task</vt:lpstr>
      <vt:lpstr>Data61 tool: Lorikeet</vt:lpstr>
      <vt:lpstr>Design time for fungible tokens</vt:lpstr>
      <vt:lpstr>Design time for data models / non-fungible tokens</vt:lpstr>
      <vt:lpstr>MDE for process models  Note: students are expected to have basic knowledge of BPMN</vt:lpstr>
      <vt:lpstr>MDE for Processes – Motivation</vt:lpstr>
      <vt:lpstr>Motivation: example</vt:lpstr>
      <vt:lpstr>Approach in a nutshell</vt:lpstr>
      <vt:lpstr>Architecture overview</vt:lpstr>
      <vt:lpstr>Runtime</vt:lpstr>
      <vt:lpstr>Runtime – UML Sequence Diagram</vt:lpstr>
      <vt:lpstr>Collaborative processes: variants</vt:lpstr>
      <vt:lpstr>Translator</vt:lpstr>
      <vt:lpstr>Combining process and data/token models Example: ICO process</vt:lpstr>
      <vt:lpstr>Combining process and data/token models Example: quality tracing process</vt:lpstr>
      <vt:lpstr>Combining process and data/token models Example: grain sales process</vt:lpstr>
      <vt:lpstr>Tooling: Design time (Lorikeet)</vt:lpstr>
      <vt:lpstr>Tooling: Runtime</vt:lpstr>
      <vt:lpstr>Summary: - Model-Driven Engineering basics - MDE for data and token model - MDE for process models </vt:lpstr>
      <vt:lpstr>MDE &amp; related tools for blockchain</vt:lpstr>
      <vt:lpstr>Model-driven Engineering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go Weber</dc:creator>
  <cp:lastModifiedBy>Ingo Weber</cp:lastModifiedBy>
  <cp:revision>1017</cp:revision>
  <dcterms:created xsi:type="dcterms:W3CDTF">2018-09-03T00:08:13Z</dcterms:created>
  <dcterms:modified xsi:type="dcterms:W3CDTF">2021-08-12T11:10:08Z</dcterms:modified>
</cp:coreProperties>
</file>